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handoutMasterIdLst>
    <p:handoutMasterId r:id="rId6"/>
  </p:handoutMasterIdLst>
  <p:sldIdLst>
    <p:sldId id="379" r:id="rId2"/>
    <p:sldId id="349" r:id="rId3"/>
    <p:sldId id="380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A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E78FD3-134B-4C9D-965A-ACAFA3FB1472}" v="407" dt="2023-06-06T13:08:28.942"/>
    <p1510:client id="{6585AA7E-9B2C-42CB-8840-0DF3D7D8D641}" v="500" dt="2023-06-06T12:13:30.351"/>
    <p1510:client id="{A67007AD-6433-446A-8794-D3DA074986CD}" v="232" dt="2023-06-06T14:05:15.18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958" autoAdjust="0"/>
  </p:normalViewPr>
  <p:slideViewPr>
    <p:cSldViewPr snapToGrid="0">
      <p:cViewPr varScale="1">
        <p:scale>
          <a:sx n="61" d="100"/>
          <a:sy n="61" d="100"/>
        </p:scale>
        <p:origin x="86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5" Type="http://schemas.openxmlformats.org/officeDocument/2006/relationships/customXml" Target="../customXml/item3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C4EF7B1-31A5-40E7-8AC4-7D8FBC1E43E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074306-0B49-4FD6-AB6A-EDB0744E4A0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4CBF11-5DEB-498B-8735-457AD74DFF4B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F67A93-C006-481D-9A49-38B2550F7D6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D6EB52-209A-4307-B9D4-3649F27FD03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B0D01D-B725-42E0-B9D8-E27CD626E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847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0E94F2-3A4C-4F2A-86DC-C53B653DCC76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53DF58-4D9A-48FF-8428-E459FC7AA5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9631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53DF58-4D9A-48FF-8428-E459FC7AA5A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626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53DF58-4D9A-48FF-8428-E459FC7AA5A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388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80689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4724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251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040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5331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3135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2910980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985995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13579648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4476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7591818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3622470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5523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646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13525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32657"/>
            <a:ext cx="10797540" cy="1319893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824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6288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471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4517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19663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56088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08225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7862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399194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34864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6793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15308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35715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6048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8639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8CC4B1-C036-448E-85AB-021BB19AC1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699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8CC4B1-C036-448E-85AB-021BB19AC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BF3960EE-9263-40F2-A3D8-207798C9DA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53072"/>
            <a:ext cx="10515600" cy="81778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>
              <a:defRPr sz="2400" b="1"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5840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590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264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5115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0388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0017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876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03BEE0-F572-456A-B214-1821803104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202339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95" imgH="396" progId="TCLayout.ActiveDocument.1">
                  <p:embed/>
                </p:oleObj>
              </mc:Choice>
              <mc:Fallback>
                <p:oleObj name="think-cell Slide" r:id="rId39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03BEE0-F572-456A-B214-182180310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6696A-2614-174D-B7E6-C777DDB95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4123" y="6260305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81395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4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BE9624-4396-504F-BC33-F1F9AB63CB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798" y="280310"/>
            <a:ext cx="10797540" cy="1015090"/>
          </a:xfrm>
        </p:spPr>
        <p:txBody>
          <a:bodyPr/>
          <a:lstStyle/>
          <a:p>
            <a:r>
              <a:rPr lang="en-US" sz="3600" dirty="0"/>
              <a:t>2024 H1 6 Months Tech Internship Programm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BD9F82-D656-4946-A96D-C91A806D2EE4}"/>
              </a:ext>
            </a:extLst>
          </p:cNvPr>
          <p:cNvSpPr txBox="1"/>
          <p:nvPr/>
        </p:nvSpPr>
        <p:spPr>
          <a:xfrm>
            <a:off x="415798" y="3105834"/>
            <a:ext cx="739946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M&amp;CI DEEP DIVE &amp; ANALYSIS</a:t>
            </a:r>
          </a:p>
        </p:txBody>
      </p:sp>
      <p:pic>
        <p:nvPicPr>
          <p:cNvPr id="4" name="Picture 3" descr="A black and yellow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7E9FD37-6910-43AB-9D04-3F4AA495D3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215" y="6118261"/>
            <a:ext cx="2845415" cy="4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0567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FE3993-AA66-4DD0-B643-F205CC752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294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FE3993-AA66-4DD0-B643-F205CC752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734A91B-D2B5-3340-864A-CDB62C800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57" y="1926839"/>
            <a:ext cx="11418886" cy="1872872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Problem Statement:</a:t>
            </a:r>
            <a:br>
              <a:rPr lang="en-US" sz="1600" b="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By combining the various datasets and deep-diving into each data segment, provide key insights into the kind of digital audience and activations that Leffe UK should focus on</a:t>
            </a:r>
            <a:b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700" b="0" i="1" dirty="0">
                <a:latin typeface="Calibri" panose="020F0502020204030204" pitchFamily="34" charset="0"/>
                <a:cs typeface="Calibri" panose="020F0502020204030204" pitchFamily="34" charset="0"/>
              </a:rPr>
              <a:t>Scope Timelines: 1st Jan 2021 – 31st August 2023 </a:t>
            </a:r>
            <a:b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700" b="0" i="1" dirty="0">
                <a:latin typeface="Calibri" panose="020F0502020204030204" pitchFamily="34" charset="0"/>
                <a:cs typeface="Calibri" panose="020F0502020204030204" pitchFamily="34" charset="0"/>
              </a:rPr>
              <a:t>Data for the assessment is collated in an Excel which is shared as an attachment.</a:t>
            </a: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b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br>
              <a:rPr lang="en-US" sz="1600" b="0" i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1600" b="0" i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endParaRPr lang="en-US" sz="16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B5B1DAE0-AD65-4330-B2F6-445026905C84}"/>
              </a:ext>
            </a:extLst>
          </p:cNvPr>
          <p:cNvSpPr txBox="1">
            <a:spLocks/>
          </p:cNvSpPr>
          <p:nvPr/>
        </p:nvSpPr>
        <p:spPr>
          <a:xfrm>
            <a:off x="386557" y="3625582"/>
            <a:ext cx="11553195" cy="2569119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Requirements:</a:t>
            </a:r>
            <a:endParaRPr lang="en-US" sz="1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What does the Leffe landscape look like on social in the UK?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How is Leffe perceived in the UK?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What are some of the key consumption drivers &amp; and barriers?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What do the reviews on eComm sites tell us about Leffe and its competitors?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How do people search for Leffe on online platforms?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Are there any clear consumption occasions on social?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How can Leffe UK improve its website?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Which are the top facilitators for the brand on a year-on-year basis?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Which facilitators have witnessed a decline? What could be the possible reasons for the same basis on secondary research?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endParaRPr lang="en-US" sz="17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endParaRPr lang="en-US" sz="1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</a:pPr>
            <a:endParaRPr lang="en-US" sz="400" dirty="0"/>
          </a:p>
          <a:p>
            <a:pPr>
              <a:lnSpc>
                <a:spcPct val="100000"/>
              </a:lnSpc>
            </a:pP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2183ED-718E-459D-9192-715F794F2A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50368" y="6338892"/>
            <a:ext cx="1570333" cy="256581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84800379-D768-421F-8C7D-180F8BB6C4DE}"/>
              </a:ext>
            </a:extLst>
          </p:cNvPr>
          <p:cNvSpPr txBox="1">
            <a:spLocks/>
          </p:cNvSpPr>
          <p:nvPr/>
        </p:nvSpPr>
        <p:spPr>
          <a:xfrm>
            <a:off x="386557" y="600073"/>
            <a:ext cx="11418886" cy="1347786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ackground:</a:t>
            </a: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700" b="0" dirty="0">
                <a:latin typeface="Calibri" panose="020F0502020204030204" pitchFamily="34" charset="0"/>
                <a:cs typeface="Calibri" panose="020F0502020204030204" pitchFamily="34" charset="0"/>
              </a:rPr>
              <a:t>Leffe has a prominent presence in the UK. 2024 will mark an important year as commercial and marketing budgets will be activated. The brand team is currently working on their 1 Year Plan and wants to understand consumers in the market in order to create robust content and digital brand strategies.</a:t>
            </a:r>
            <a:endParaRPr lang="en-US" sz="1700" b="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965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B5B1DAE0-AD65-4330-B2F6-445026905C84}"/>
              </a:ext>
            </a:extLst>
          </p:cNvPr>
          <p:cNvSpPr txBox="1">
            <a:spLocks/>
          </p:cNvSpPr>
          <p:nvPr/>
        </p:nvSpPr>
        <p:spPr>
          <a:xfrm>
            <a:off x="315913" y="3357564"/>
            <a:ext cx="11418886" cy="3405186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Evaluation Metrics:</a:t>
            </a: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cs typeface="Calibri" panose="020F0502020204030204" pitchFamily="34" charset="0"/>
              </a:rPr>
              <a:t>Overall understanding of the problem</a:t>
            </a:r>
          </a:p>
          <a:p>
            <a:pPr marL="342900" indent="-342900">
              <a:buFont typeface="+mj-lt"/>
              <a:buAutoNum type="arabicPeriod"/>
            </a:pPr>
            <a:endParaRPr lang="en-US" sz="1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cs typeface="Calibri" panose="020F0502020204030204" pitchFamily="34" charset="0"/>
              </a:rPr>
              <a:t>Approach toward problem statement</a:t>
            </a:r>
          </a:p>
          <a:p>
            <a:pPr marL="342900" indent="-342900">
              <a:buFont typeface="+mj-lt"/>
              <a:buAutoNum type="arabicPeriod"/>
            </a:pPr>
            <a:endParaRPr lang="en-US" sz="1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cs typeface="Calibri" panose="020F0502020204030204" pitchFamily="34" charset="0"/>
              </a:rPr>
              <a:t>Quality of Actionable Insights &amp; Recommendations</a:t>
            </a:r>
          </a:p>
          <a:p>
            <a:pPr marL="342900" indent="-342900">
              <a:buFont typeface="+mj-lt"/>
              <a:buAutoNum type="arabicPeriod"/>
            </a:pPr>
            <a:endParaRPr lang="en-US" sz="1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cs typeface="Calibri" panose="020F0502020204030204" pitchFamily="34" charset="0"/>
              </a:rPr>
              <a:t>Storytelling covering different datasets</a:t>
            </a:r>
          </a:p>
          <a:p>
            <a:pPr marL="342900" indent="-342900">
              <a:buFont typeface="+mj-lt"/>
              <a:buAutoNum type="arabicPeriod"/>
            </a:pPr>
            <a:endParaRPr lang="en-US" sz="18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cs typeface="Calibri" panose="020F0502020204030204" pitchFamily="34" charset="0"/>
              </a:rPr>
              <a:t>Quality of Presentation</a:t>
            </a:r>
          </a:p>
          <a:p>
            <a:pPr marL="342900" indent="-342900">
              <a:buFont typeface="+mj-lt"/>
              <a:buAutoNum type="arabicPeriod"/>
            </a:pPr>
            <a:endParaRPr lang="en-US" sz="20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F9A789C2-83DA-49F0-B4B8-EC03EC18642E}"/>
              </a:ext>
            </a:extLst>
          </p:cNvPr>
          <p:cNvSpPr txBox="1">
            <a:spLocks/>
          </p:cNvSpPr>
          <p:nvPr/>
        </p:nvSpPr>
        <p:spPr>
          <a:xfrm>
            <a:off x="315913" y="709614"/>
            <a:ext cx="11418886" cy="1814511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Expected Deliverables:</a:t>
            </a: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cs typeface="Calibri" panose="020F0502020204030204" pitchFamily="34" charset="0"/>
              </a:rPr>
              <a:t>Submit a summary and analysis with a focus on Actionable Insights &amp; Recommendations (Max. 5 Slides)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cs typeface="Calibri" panose="020F0502020204030204" pitchFamily="34" charset="0"/>
              </a:rPr>
              <a:t>PPT with the exec. summary, and all your recommendations, etc. 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cs typeface="Calibri" panose="020F0502020204030204" pitchFamily="34" charset="0"/>
              </a:rPr>
              <a:t>Maintain consistence formatting across slides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EC8773-1F71-4F8D-89F9-B1A6C32502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79501" y="6349005"/>
            <a:ext cx="1570333" cy="256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5721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306D6EEABF034BA086F7660557417D" ma:contentTypeVersion="15" ma:contentTypeDescription="Create a new document." ma:contentTypeScope="" ma:versionID="3b8e8d8ef4fbf5ab4d56a886e352f480">
  <xsd:schema xmlns:xsd="http://www.w3.org/2001/XMLSchema" xmlns:xs="http://www.w3.org/2001/XMLSchema" xmlns:p="http://schemas.microsoft.com/office/2006/metadata/properties" xmlns:ns2="cdf54d6e-2041-4626-8f14-df0f9381b9bf" xmlns:ns3="d571d910-0ccc-45a9-9c91-ed34a0b3b739" targetNamespace="http://schemas.microsoft.com/office/2006/metadata/properties" ma:root="true" ma:fieldsID="98e3a5862b3d00c6338436da2c749771" ns2:_="" ns3:_="">
    <xsd:import namespace="cdf54d6e-2041-4626-8f14-df0f9381b9bf"/>
    <xsd:import namespace="d571d910-0ccc-45a9-9c91-ed34a0b3b73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CR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f54d6e-2041-4626-8f14-df0f9381b9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2e2deea9-f698-482e-8f77-105b59b605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1d910-0ccc-45a9-9c91-ed34a0b3b73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dda1d6a8-174d-4a5e-996e-9721a6dc29cb}" ma:internalName="TaxCatchAll" ma:showField="CatchAllData" ma:web="d571d910-0ccc-45a9-9c91-ed34a0b3b7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df54d6e-2041-4626-8f14-df0f9381b9bf">
      <Terms xmlns="http://schemas.microsoft.com/office/infopath/2007/PartnerControls"/>
    </lcf76f155ced4ddcb4097134ff3c332f>
    <TaxCatchAll xmlns="d571d910-0ccc-45a9-9c91-ed34a0b3b739" xsi:nil="true"/>
  </documentManagement>
</p:properties>
</file>

<file path=customXml/itemProps1.xml><?xml version="1.0" encoding="utf-8"?>
<ds:datastoreItem xmlns:ds="http://schemas.openxmlformats.org/officeDocument/2006/customXml" ds:itemID="{B15B8EB6-4499-4EB9-8334-E6BCE05AFEEE}"/>
</file>

<file path=customXml/itemProps2.xml><?xml version="1.0" encoding="utf-8"?>
<ds:datastoreItem xmlns:ds="http://schemas.openxmlformats.org/officeDocument/2006/customXml" ds:itemID="{E19A867F-F3F4-4DBA-B2FD-CCA8E17EF0AF}"/>
</file>

<file path=customXml/itemProps3.xml><?xml version="1.0" encoding="utf-8"?>
<ds:datastoreItem xmlns:ds="http://schemas.openxmlformats.org/officeDocument/2006/customXml" ds:itemID="{FE167D48-7B27-4A9C-8420-8DF4ED5F5171}"/>
</file>

<file path=docProps/app.xml><?xml version="1.0" encoding="utf-8"?>
<Properties xmlns="http://schemas.openxmlformats.org/officeDocument/2006/extended-properties" xmlns:vt="http://schemas.openxmlformats.org/officeDocument/2006/docPropsVTypes">
  <TotalTime>241</TotalTime>
  <Words>317</Words>
  <Application>Microsoft Office PowerPoint</Application>
  <PresentationFormat>Widescreen</PresentationFormat>
  <Paragraphs>36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Franklin Gothic Medium</vt:lpstr>
      <vt:lpstr>System Font Regular</vt:lpstr>
      <vt:lpstr>Wingdings</vt:lpstr>
      <vt:lpstr>Anheuser-Busch Custom Template</vt:lpstr>
      <vt:lpstr>think-cell Slide</vt:lpstr>
      <vt:lpstr>PowerPoint Presentation</vt:lpstr>
      <vt:lpstr>Problem Statement: By combining the various datasets and deep-diving into each data segment, provide key insights into the kind of digital audience and activations that Leffe UK should focus on  Scope Timelines: 1st Jan 2021 – 31st August 2023  (Data for the assessment is collated in an Excel which is shared as an attachment.)    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jeev.Mishra[40101734]</dc:creator>
  <cp:lastModifiedBy>Uppar, Ashwini</cp:lastModifiedBy>
  <cp:revision>7</cp:revision>
  <dcterms:created xsi:type="dcterms:W3CDTF">2022-03-03T10:05:14Z</dcterms:created>
  <dcterms:modified xsi:type="dcterms:W3CDTF">2023-10-31T18:1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99b9ac5-bfc5-4000-954e-66a5bd60446c</vt:lpwstr>
  </property>
  <property fmtid="{D5CDD505-2E9C-101B-9397-08002B2CF9AE}" pid="3" name="ABClassification">
    <vt:lpwstr>Confidential</vt:lpwstr>
  </property>
  <property fmtid="{D5CDD505-2E9C-101B-9397-08002B2CF9AE}" pid="4" name="MSIP_Label_68104b14-b53d-46de-9ae8-975cc0e84815_Enabled">
    <vt:lpwstr>true</vt:lpwstr>
  </property>
  <property fmtid="{D5CDD505-2E9C-101B-9397-08002B2CF9AE}" pid="5" name="MSIP_Label_68104b14-b53d-46de-9ae8-975cc0e84815_SetDate">
    <vt:lpwstr>2023-06-23T07:05:30Z</vt:lpwstr>
  </property>
  <property fmtid="{D5CDD505-2E9C-101B-9397-08002B2CF9AE}" pid="6" name="MSIP_Label_68104b14-b53d-46de-9ae8-975cc0e84815_Method">
    <vt:lpwstr>Standard</vt:lpwstr>
  </property>
  <property fmtid="{D5CDD505-2E9C-101B-9397-08002B2CF9AE}" pid="7" name="MSIP_Label_68104b14-b53d-46de-9ae8-975cc0e84815_Name">
    <vt:lpwstr>ABI_MIP_InternalUseOnly</vt:lpwstr>
  </property>
  <property fmtid="{D5CDD505-2E9C-101B-9397-08002B2CF9AE}" pid="8" name="MSIP_Label_68104b14-b53d-46de-9ae8-975cc0e84815_SiteId">
    <vt:lpwstr>cef04b19-7776-4a94-b89b-375c77a8f936</vt:lpwstr>
  </property>
  <property fmtid="{D5CDD505-2E9C-101B-9397-08002B2CF9AE}" pid="9" name="MSIP_Label_68104b14-b53d-46de-9ae8-975cc0e84815_ActionId">
    <vt:lpwstr>c5cb6262-fd71-42ad-aa18-8c2fe308989b</vt:lpwstr>
  </property>
  <property fmtid="{D5CDD505-2E9C-101B-9397-08002B2CF9AE}" pid="10" name="MSIP_Label_68104b14-b53d-46de-9ae8-975cc0e84815_ContentBits">
    <vt:lpwstr>0</vt:lpwstr>
  </property>
  <property fmtid="{D5CDD505-2E9C-101B-9397-08002B2CF9AE}" pid="11" name="ContentTypeId">
    <vt:lpwstr>0x010100FC306D6EEABF034BA086F7660557417D</vt:lpwstr>
  </property>
</Properties>
</file>